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Jan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32835" y="173668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ÇÃO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496300" cy="1384995"/>
          </a:xfrm>
        </p:spPr>
        <p:txBody>
          <a:bodyPr/>
          <a:lstStyle/>
          <a:p>
            <a:r>
              <a:rPr lang="pt-BR" dirty="0"/>
              <a:t>Proteja a eficiência do equipamento, cancelando o risco de vibração do codificador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dirty="0"/>
              <a:t>Realocação do codificador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0DB7499-8C91-486C-830A-427CE41778FC}"/>
              </a:ext>
            </a:extLst>
          </p:cNvPr>
          <p:cNvSpPr txBox="1">
            <a:spLocks/>
          </p:cNvSpPr>
          <p:nvPr/>
        </p:nvSpPr>
        <p:spPr>
          <a:xfrm>
            <a:off x="632835" y="5837121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Eficiência, </a:t>
            </a:r>
            <a:r>
              <a:rPr lang="en-GB" altLang="fr-FR" sz="800" dirty="0" err="1">
                <a:solidFill>
                  <a:srgbClr val="000000"/>
                </a:solidFill>
              </a:rPr>
              <a:t>Manutenção</a:t>
            </a:r>
            <a:endParaRPr lang="en-GB" altLang="fr-FR" sz="800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RIX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206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FACE09-5486-4408-856A-EF79B95E67E9}"/>
              </a:ext>
            </a:extLst>
          </p:cNvPr>
          <p:cNvSpPr/>
          <p:nvPr/>
        </p:nvSpPr>
        <p:spPr>
          <a:xfrm>
            <a:off x="4760867" y="2160646"/>
            <a:ext cx="386344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O codificador é realocado da área central da roda de sopro para o eixo de acionamento do motoredutor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Conteúdo da solução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Novo codificador com trem de engrenagens e suporte específicos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Novo link elétrico na união elétrica rotativa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BEE4369-6E35-4E33-A414-ED70FF4E799E}"/>
              </a:ext>
            </a:extLst>
          </p:cNvPr>
          <p:cNvSpPr/>
          <p:nvPr/>
        </p:nvSpPr>
        <p:spPr>
          <a:xfrm>
            <a:off x="596321" y="2174553"/>
            <a:ext cx="396240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100" dirty="0"/>
              <a:t>Cancele uma possível leitura incorreta do codificador que poderia levar a erros de sincronização do PLC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100" dirty="0"/>
              <a:t>Aumente a eficiência evitando paradas de produção</a:t>
            </a:r>
            <a:endParaRPr lang="en-GB" altLang="fr-FR" sz="1100" dirty="0"/>
          </a:p>
        </p:txBody>
      </p:sp>
      <p:pic>
        <p:nvPicPr>
          <p:cNvPr id="16" name="Image 11">
            <a:extLst>
              <a:ext uri="{FF2B5EF4-FFF2-40B4-BE49-F238E27FC236}">
                <a16:creationId xmlns:a16="http://schemas.microsoft.com/office/drawing/2014/main" id="{81C81F2B-3E97-4AC9-BD3F-2ED98B33B6A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198" y="3319219"/>
            <a:ext cx="3420782" cy="2123057"/>
          </a:xfrm>
          <a:prstGeom prst="rect">
            <a:avLst/>
          </a:prstGeom>
        </p:spPr>
      </p:pic>
      <p:pic>
        <p:nvPicPr>
          <p:cNvPr id="17" name="Image 5">
            <a:extLst>
              <a:ext uri="{FF2B5EF4-FFF2-40B4-BE49-F238E27FC236}">
                <a16:creationId xmlns:a16="http://schemas.microsoft.com/office/drawing/2014/main" id="{01488AF3-A343-4912-BCE6-EB0C716AE4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2684" y="3726236"/>
            <a:ext cx="2155851" cy="2039935"/>
          </a:xfrm>
          <a:prstGeom prst="rect">
            <a:avLst/>
          </a:prstGeom>
        </p:spPr>
      </p:pic>
      <p:pic>
        <p:nvPicPr>
          <p:cNvPr id="18" name="Image 9">
            <a:extLst>
              <a:ext uri="{FF2B5EF4-FFF2-40B4-BE49-F238E27FC236}">
                <a16:creationId xmlns:a16="http://schemas.microsoft.com/office/drawing/2014/main" id="{F97C3AF2-BFFF-412D-BA85-DF19B89C22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2814279" y="3822957"/>
            <a:ext cx="1993758" cy="1384370"/>
          </a:xfrm>
          <a:prstGeom prst="rect">
            <a:avLst/>
          </a:prstGeom>
        </p:spPr>
      </p:pic>
      <p:pic>
        <p:nvPicPr>
          <p:cNvPr id="22" name="Picture 24" descr="Signe De Bruit Et De Vibrations Acoustiques élevés, Triangle Jaune  Vectoriel Clip Art Libres De Droits , Vecteurs Et Illustration. Image  74617913.">
            <a:extLst>
              <a:ext uri="{FF2B5EF4-FFF2-40B4-BE49-F238E27FC236}">
                <a16:creationId xmlns:a16="http://schemas.microsoft.com/office/drawing/2014/main" id="{85D8DC0F-E843-4A20-A7EF-FCCAF4578E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0293" y="3309556"/>
            <a:ext cx="833360" cy="833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Image 12">
            <a:extLst>
              <a:ext uri="{FF2B5EF4-FFF2-40B4-BE49-F238E27FC236}">
                <a16:creationId xmlns:a16="http://schemas.microsoft.com/office/drawing/2014/main" id="{C3F5078C-B89D-4EF8-9874-B43E846FDF2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35815" y="4314592"/>
            <a:ext cx="1058897" cy="1197429"/>
          </a:xfrm>
          <a:prstGeom prst="rect">
            <a:avLst/>
          </a:prstGeom>
        </p:spPr>
      </p:pic>
      <p:cxnSp>
        <p:nvCxnSpPr>
          <p:cNvPr id="24" name="Connecteur droit avec flèche 16">
            <a:extLst>
              <a:ext uri="{FF2B5EF4-FFF2-40B4-BE49-F238E27FC236}">
                <a16:creationId xmlns:a16="http://schemas.microsoft.com/office/drawing/2014/main" id="{395C9868-F160-4731-B6C1-994641742897}"/>
              </a:ext>
            </a:extLst>
          </p:cNvPr>
          <p:cNvCxnSpPr/>
          <p:nvPr/>
        </p:nvCxnSpPr>
        <p:spPr>
          <a:xfrm flipH="1" flipV="1">
            <a:off x="6435634" y="4293326"/>
            <a:ext cx="864566" cy="45287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444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72</TotalTime>
  <Words>96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Proteja a eficiência do equipamento, cancelando o risco de vibração do codificado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6</cp:revision>
  <dcterms:created xsi:type="dcterms:W3CDTF">2018-02-10T17:04:39Z</dcterms:created>
  <dcterms:modified xsi:type="dcterms:W3CDTF">2021-01-12T13:5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